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2"/>
  </p:notesMasterIdLst>
  <p:handoutMasterIdLst>
    <p:handoutMasterId r:id="rId6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08" r:id="rId52"/>
    <p:sldId id="322" r:id="rId53"/>
    <p:sldId id="326" r:id="rId54"/>
    <p:sldId id="309" r:id="rId55"/>
    <p:sldId id="324" r:id="rId56"/>
    <p:sldId id="320" r:id="rId57"/>
    <p:sldId id="327" r:id="rId58"/>
    <p:sldId id="290" r:id="rId59"/>
    <p:sldId id="281" r:id="rId60"/>
    <p:sldId id="289" r:id="rId6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9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(linhas e também colunas)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Selecionar intervalo,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800" dirty="0" smtClean="0">
                <a:latin typeface="Corbel" panose="020B0503020204020204" pitchFamily="34" charset="0"/>
              </a:rPr>
              <a:t> Botão direito na coluna que quer usar como referencia&gt; Classificar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, Selecionar intervalo&gt; Importar&gt; OK.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</a:t>
            </a:r>
            <a:r>
              <a:rPr lang="pt-BR" sz="1800" smtClean="0">
                <a:latin typeface="Corbel" panose="020B0503020204020204" pitchFamily="34" charset="0"/>
              </a:rPr>
              <a:t>)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</a:t>
            </a:r>
            <a:r>
              <a:rPr lang="pt-BR" sz="1800" dirty="0" err="1" smtClean="0"/>
              <a:t>tamnho</a:t>
            </a:r>
            <a:r>
              <a:rPr lang="pt-BR" sz="1800" dirty="0" smtClean="0"/>
              <a:t> Fixo ou existe algum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 ou a desenhar a divisória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nu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3245" y="4094078"/>
            <a:ext cx="2786063" cy="2240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Nem todos os registro possuem nome do gerente ou centro de custo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numero, PROCV, Texto para Coluna, FILTRO, Classificação.</a:t>
            </a: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</a:t>
            </a:r>
            <a:r>
              <a:rPr lang="pt-BR" sz="1800" dirty="0" smtClean="0"/>
              <a:t>Ao </a:t>
            </a:r>
            <a:r>
              <a:rPr lang="pt-BR" sz="1800" dirty="0"/>
              <a:t>atender a um critério especifico, faz a soma de acordo com a parâmetro informado</a:t>
            </a:r>
            <a:r>
              <a:rPr lang="pt-BR" sz="1800" dirty="0" smtClean="0"/>
              <a:t>. As função são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 smtClean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 smtClean="0"/>
              <a:t>Usando a formula “..SE” acima você consegue somar somente valores que atendam às condições proposta n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 smtClean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E ARQUIVO DE FORNECEDORES PARA FAZER MEDIA, SOMA, CONTAGEM POR GERENTE, DIRETOR E DEPARTARMENTO.</a:t>
            </a:r>
          </a:p>
        </p:txBody>
      </p:sp>
    </p:spTree>
    <p:extLst>
      <p:ext uri="{BB962C8B-B14F-4D97-AF65-F5344CB8AC3E}">
        <p14:creationId xmlns:p14="http://schemas.microsoft.com/office/powerpoint/2010/main" val="82913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err="1" smtClean="0"/>
              <a:t>VocÊ</a:t>
            </a:r>
            <a:r>
              <a:rPr lang="pt-BR" sz="1800" dirty="0" smtClean="0"/>
              <a:t> consegue </a:t>
            </a:r>
            <a:r>
              <a:rPr lang="pt-BR" sz="1800" dirty="0" err="1" smtClean="0"/>
              <a:t>priorizare</a:t>
            </a:r>
            <a:r>
              <a:rPr lang="pt-BR" sz="1800" dirty="0" smtClean="0"/>
              <a:t> os pagamentos de uma empresa?,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Usar a </a:t>
            </a:r>
            <a:r>
              <a:rPr lang="pt-BR" sz="1800" dirty="0" err="1" smtClean="0"/>
              <a:t>pordem</a:t>
            </a:r>
            <a:r>
              <a:rPr lang="pt-BR" sz="1800" dirty="0" smtClean="0"/>
              <a:t> data, limite de caixa de 450 mil reai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rimeiro </a:t>
            </a:r>
            <a:r>
              <a:rPr lang="pt-BR" sz="1800" dirty="0" err="1" smtClean="0"/>
              <a:t>pea</a:t>
            </a:r>
            <a:r>
              <a:rPr lang="pt-BR" sz="1800" dirty="0" smtClean="0"/>
              <a:t> ordem dada de fornecedor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Depois por empresa</a:t>
            </a: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41</TotalTime>
  <Words>4367</Words>
  <Application>Microsoft Office PowerPoint</Application>
  <PresentationFormat>Widescreen</PresentationFormat>
  <Paragraphs>561</Paragraphs>
  <Slides>60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0</vt:i4>
      </vt:variant>
    </vt:vector>
  </HeadingPairs>
  <TitlesOfParts>
    <vt:vector size="6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307</cp:revision>
  <dcterms:created xsi:type="dcterms:W3CDTF">2018-08-19T15:50:37Z</dcterms:created>
  <dcterms:modified xsi:type="dcterms:W3CDTF">2018-11-09T22:12:17Z</dcterms:modified>
</cp:coreProperties>
</file>